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notesSlides/notesSlide6.xml" ContentType="application/vnd.openxmlformats-officedocument.presentationml.notesSlide+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tags/tag37.xml" ContentType="application/vnd.openxmlformats-officedocument.presentationml.tags+xml"/>
  <Override PartName="/ppt/notesSlides/notesSlide10.xml" ContentType="application/vnd.openxmlformats-officedocument.presentationml.notesSlide+xml"/>
  <Override PartName="/ppt/tags/tag3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39.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40.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41.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42.xml" ContentType="application/vnd.openxmlformats-officedocument.presentationml.tags+xml"/>
  <Override PartName="/ppt/notesSlides/notesSlide11.xml" ContentType="application/vnd.openxmlformats-officedocument.presentationml.notesSlide+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4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45.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4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47.xml" ContentType="application/vnd.openxmlformats-officedocument.presentationml.tags+xml"/>
  <Override PartName="/ppt/notesSlides/notesSlide12.xml" ContentType="application/vnd.openxmlformats-officedocument.presentationml.notesSlide+xml"/>
  <Override PartName="/ppt/charts/chart29.xml" ContentType="application/vnd.openxmlformats-officedocument.drawingml.chart+xml"/>
  <Override PartName="/ppt/tags/tag48.xml" ContentType="application/vnd.openxmlformats-officedocument.presentationml.tags+xml"/>
  <Override PartName="/ppt/charts/chart30.xml" ContentType="application/vnd.openxmlformats-officedocument.drawingml.chart+xml"/>
  <Override PartName="/ppt/tags/tag49.xml" ContentType="application/vnd.openxmlformats-officedocument.presentationml.tags+xml"/>
  <Override PartName="/ppt/charts/chart31.xml" ContentType="application/vnd.openxmlformats-officedocument.drawingml.chart+xml"/>
  <Override PartName="/ppt/tags/tag50.xml" ContentType="application/vnd.openxmlformats-officedocument.presentationml.tags+xml"/>
  <Override PartName="/ppt/charts/chart32.xml" ContentType="application/vnd.openxmlformats-officedocument.drawingml.chart+xml"/>
  <Override PartName="/ppt/tags/tag51.xml" ContentType="application/vnd.openxmlformats-officedocument.presentationml.tags+xml"/>
  <Override PartName="/ppt/charts/chart33.xml" ContentType="application/vnd.openxmlformats-officedocument.drawingml.chart+xml"/>
  <Override PartName="/ppt/tags/tag52.xml" ContentType="application/vnd.openxmlformats-officedocument.presentationml.tags+xml"/>
  <Override PartName="/ppt/charts/chart34.xml" ContentType="application/vnd.openxmlformats-officedocument.drawingml.chart+xml"/>
  <Override PartName="/ppt/tags/tag53.xml" ContentType="application/vnd.openxmlformats-officedocument.presentationml.tags+xml"/>
  <Override PartName="/ppt/charts/chart35.xml" ContentType="application/vnd.openxmlformats-officedocument.drawingml.chart+xml"/>
  <Override PartName="/ppt/tags/tag54.xml" ContentType="application/vnd.openxmlformats-officedocument.presentationml.tags+xml"/>
  <Override PartName="/ppt/charts/chart36.xml" ContentType="application/vnd.openxmlformats-officedocument.drawingml.chart+xml"/>
  <Override PartName="/ppt/tags/tag55.xml" ContentType="application/vnd.openxmlformats-officedocument.presentationml.tags+xml"/>
  <Override PartName="/ppt/charts/chart37.xml" ContentType="application/vnd.openxmlformats-officedocument.drawingml.chart+xml"/>
  <Override PartName="/ppt/tags/tag56.xml" ContentType="application/vnd.openxmlformats-officedocument.presentationml.tags+xml"/>
  <Override PartName="/ppt/charts/chart38.xml" ContentType="application/vnd.openxmlformats-officedocument.drawingml.chart+xml"/>
  <Override PartName="/ppt/tags/tag57.xml" ContentType="application/vnd.openxmlformats-officedocument.presentationml.tags+xml"/>
  <Override PartName="/ppt/charts/chart39.xml" ContentType="application/vnd.openxmlformats-officedocument.drawingml.chart+xml"/>
  <Override PartName="/ppt/tags/tag58.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ags/tag59.xml" ContentType="application/vnd.openxmlformats-officedocument.presentationml.tags+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tags/tag60.xml" ContentType="application/vnd.openxmlformats-officedocument.presentationml.tags+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61.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tags/tag62.xml" ContentType="application/vnd.openxmlformats-officedocument.presentationml.tags+xml"/>
  <Override PartName="/ppt/charts/chart54.xml" ContentType="application/vnd.openxmlformats-officedocument.drawingml.chart+xml"/>
  <Override PartName="/ppt/tags/tag63.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64.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tags/tag65.xml" ContentType="application/vnd.openxmlformats-officedocument.presentationml.tags+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66.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tags/tag67.xml" ContentType="application/vnd.openxmlformats-officedocument.presentationml.tags+xml"/>
  <Override PartName="/ppt/charts/chart68.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45"/>
  </p:notesMasterIdLst>
  <p:sldIdLst>
    <p:sldId id="2147475164" r:id="rId5"/>
    <p:sldId id="2147475165" r:id="rId6"/>
    <p:sldId id="2147475166" r:id="rId7"/>
    <p:sldId id="2147475167" r:id="rId8"/>
    <p:sldId id="2147475168" r:id="rId9"/>
    <p:sldId id="2147475169" r:id="rId10"/>
    <p:sldId id="2147475170" r:id="rId11"/>
    <p:sldId id="2147475171" r:id="rId12"/>
    <p:sldId id="2147475172" r:id="rId13"/>
    <p:sldId id="2147475173" r:id="rId14"/>
    <p:sldId id="2147475174" r:id="rId15"/>
    <p:sldId id="2147475175" r:id="rId16"/>
    <p:sldId id="2147475176" r:id="rId17"/>
    <p:sldId id="2147475177" r:id="rId18"/>
    <p:sldId id="2147475178" r:id="rId19"/>
    <p:sldId id="2147475179" r:id="rId20"/>
    <p:sldId id="2147475180" r:id="rId21"/>
    <p:sldId id="2147475181" r:id="rId22"/>
    <p:sldId id="2147475182" r:id="rId23"/>
    <p:sldId id="2147475183" r:id="rId24"/>
    <p:sldId id="2147475184" r:id="rId25"/>
    <p:sldId id="2147475185" r:id="rId26"/>
    <p:sldId id="2147475186" r:id="rId27"/>
    <p:sldId id="2147475187" r:id="rId28"/>
    <p:sldId id="2147475188" r:id="rId29"/>
    <p:sldId id="2147475189" r:id="rId30"/>
    <p:sldId id="2147475190" r:id="rId31"/>
    <p:sldId id="2147475191" r:id="rId32"/>
    <p:sldId id="2147475192" r:id="rId33"/>
    <p:sldId id="2147475193" r:id="rId34"/>
    <p:sldId id="2147475194" r:id="rId35"/>
    <p:sldId id="2147475195" r:id="rId36"/>
    <p:sldId id="2147475196" r:id="rId37"/>
    <p:sldId id="2147475197" r:id="rId38"/>
    <p:sldId id="2147475198" r:id="rId39"/>
    <p:sldId id="2147475199" r:id="rId40"/>
    <p:sldId id="2147475200" r:id="rId41"/>
    <p:sldId id="2147475201" r:id="rId42"/>
    <p:sldId id="2147475202" r:id="rId43"/>
    <p:sldId id="2147475203" r:id="rId4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Summary" id="{738C49FE-843F-44FB-B427-86195E578F8E}">
          <p14:sldIdLst>
            <p14:sldId id="2147475164"/>
            <p14:sldId id="2147475165"/>
            <p14:sldId id="2147475166"/>
            <p14:sldId id="2147475167"/>
            <p14:sldId id="2147475168"/>
            <p14:sldId id="2147475169"/>
            <p14:sldId id="2147475170"/>
            <p14:sldId id="2147475171"/>
            <p14:sldId id="2147475172"/>
            <p14:sldId id="2147475173"/>
          </p14:sldIdLst>
        </p14:section>
        <p14:section name="Innovation ranking" id="{FBD3AC6B-4B65-4AFF-A85F-F6967EC8F095}">
          <p14:sldIdLst>
            <p14:sldId id="2147475174"/>
            <p14:sldId id="2147475175"/>
            <p14:sldId id="2147475176"/>
            <p14:sldId id="2147475177"/>
            <p14:sldId id="2147475178"/>
            <p14:sldId id="2147475179"/>
            <p14:sldId id="2147475180"/>
            <p14:sldId id="2147475181"/>
            <p14:sldId id="2147475182"/>
            <p14:sldId id="2147475183"/>
          </p14:sldIdLst>
        </p14:section>
        <p14:section name="Innovation potential" id="{487B4CC8-4856-44E4-B91D-CFBD2C6418E1}">
          <p14:sldIdLst>
            <p14:sldId id="2147475184"/>
            <p14:sldId id="2147475185"/>
            <p14:sldId id="2147475186"/>
            <p14:sldId id="2147475187"/>
            <p14:sldId id="2147475188"/>
            <p14:sldId id="2147475189"/>
            <p14:sldId id="2147475190"/>
            <p14:sldId id="2147475191"/>
            <p14:sldId id="2147475192"/>
            <p14:sldId id="2147475193"/>
          </p14:sldIdLst>
        </p14:section>
        <p14:section name="Innovation sourcing" id="{019D38BD-72A1-4558-AB8B-D54946D60664}">
          <p14:sldIdLst>
            <p14:sldId id="2147475194"/>
            <p14:sldId id="2147475195"/>
            <p14:sldId id="2147475196"/>
            <p14:sldId id="2147475197"/>
            <p14:sldId id="2147475198"/>
            <p14:sldId id="2147475199"/>
            <p14:sldId id="2147475200"/>
            <p14:sldId id="2147475201"/>
            <p14:sldId id="2147475202"/>
            <p14:sldId id="214747520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22" d="100"/>
          <a:sy n="122" d="100"/>
        </p:scale>
        <p:origin x="355" y="36"/>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AEABAB"/>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AEABAB"/>
              </a:solidFill>
            </c:spPr>
            <c:extLst>
              <c:ext xmlns:c16="http://schemas.microsoft.com/office/drawing/2014/chart" uri="{C3380CC4-5D6E-409C-BE32-E72D297353CC}">
                <c16:uniqueId val="{00000011-83E0-4716-877A-8084D4846F88}"/>
              </c:ext>
            </c:extLst>
          </c:dPt>
          <c:dPt>
            <c:idx val="9"/>
            <c:invertIfNegative val="1"/>
            <c:bubble3D val="0"/>
            <c:spPr>
              <a:solidFill>
                <a:srgbClr val="AEABAB"/>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extLst>
              <c:ext xmlns:c16="http://schemas.microsoft.com/office/drawing/2014/chart" uri="{C3380CC4-5D6E-409C-BE32-E72D297353CC}">
                <c16:uniqueId val="{0000001D-83E0-4716-877A-8084D4846F88}"/>
              </c:ext>
            </c:extLst>
          </c:dPt>
          <c:dPt>
            <c:idx val="15"/>
            <c:invertIfNegative val="1"/>
            <c:bubble3D val="0"/>
            <c:spPr>
              <a:solidFill>
                <a:srgbClr val="AEABAB"/>
              </a:solidFill>
            </c:spPr>
            <c:extLst>
              <c:ext xmlns:c16="http://schemas.microsoft.com/office/drawing/2014/chart" uri="{C3380CC4-5D6E-409C-BE32-E72D297353CC}">
                <c16:uniqueId val="{0000001F-83E0-4716-877A-8084D4846F88}"/>
              </c:ext>
            </c:extLst>
          </c:dPt>
          <c:dPt>
            <c:idx val="16"/>
            <c:invertIfNegative val="1"/>
            <c:bubble3D val="0"/>
            <c:spPr>
              <a:solidFill>
                <a:srgbClr val="AEABAB"/>
              </a:solidFill>
            </c:spPr>
            <c:extLst>
              <c:ext xmlns:c16="http://schemas.microsoft.com/office/drawing/2014/chart" uri="{C3380CC4-5D6E-409C-BE32-E72D297353CC}">
                <c16:uniqueId val="{00000021-83E0-4716-877A-8084D4846F88}"/>
              </c:ext>
            </c:extLst>
          </c:dPt>
          <c:dPt>
            <c:idx val="17"/>
            <c:invertIfNegative val="0"/>
            <c:bubble3D val="0"/>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AEABAB"/>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AEABAB"/>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AEABAB"/>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AEABAB"/>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AEABAB"/>
              </a:solidFill>
            </c:spPr>
            <c:extLst>
              <c:ext xmlns:c16="http://schemas.microsoft.com/office/drawing/2014/chart" uri="{C3380CC4-5D6E-409C-BE32-E72D297353CC}">
                <c16:uniqueId val="{0000003F-83E0-4716-877A-8084D4846F88}"/>
              </c:ext>
            </c:extLst>
          </c:dPt>
          <c:dPt>
            <c:idx val="32"/>
            <c:invertIfNegative val="0"/>
            <c:bubble3D val="0"/>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AEABAB"/>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AEABAB"/>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extLst>
              <c:ext xmlns:c16="http://schemas.microsoft.com/office/drawing/2014/chart" uri="{C3380CC4-5D6E-409C-BE32-E72D297353CC}">
                <c16:uniqueId val="{00000059-83E0-4716-877A-8084D4846F88}"/>
              </c:ext>
            </c:extLst>
          </c:dPt>
          <c:dPt>
            <c:idx val="45"/>
            <c:invertIfNegative val="1"/>
            <c:bubble3D val="0"/>
            <c:spPr>
              <a:solidFill>
                <a:srgbClr val="AEABAB"/>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AEABAB"/>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extLst>
              <c:ext xmlns:c16="http://schemas.microsoft.com/office/drawing/2014/chart" uri="{C3380CC4-5D6E-409C-BE32-E72D297353CC}">
                <c16:uniqueId val="{00000063-83E0-4716-877A-8084D4846F88}"/>
              </c:ext>
            </c:extLst>
          </c:dPt>
          <c:dPt>
            <c:idx val="50"/>
            <c:invertIfNegative val="0"/>
            <c:bubble3D val="0"/>
            <c:extLst>
              <c:ext xmlns:c16="http://schemas.microsoft.com/office/drawing/2014/chart" uri="{C3380CC4-5D6E-409C-BE32-E72D297353CC}">
                <c16:uniqueId val="{00000065-83E0-4716-877A-8084D4846F88}"/>
              </c:ext>
            </c:extLst>
          </c:dPt>
          <c:dPt>
            <c:idx val="51"/>
            <c:invertIfNegative val="1"/>
            <c:bubble3D val="0"/>
            <c:spPr>
              <a:solidFill>
                <a:srgbClr val="AEABAB"/>
              </a:solidFill>
            </c:spPr>
            <c:extLst>
              <c:ext xmlns:c16="http://schemas.microsoft.com/office/drawing/2014/chart" uri="{C3380CC4-5D6E-409C-BE32-E72D297353CC}">
                <c16:uniqueId val="{00000067-83E0-4716-877A-8084D4846F88}"/>
              </c:ext>
            </c:extLst>
          </c:dPt>
          <c:dPt>
            <c:idx val="52"/>
            <c:invertIfNegative val="1"/>
            <c:bubble3D val="0"/>
            <c:spPr>
              <a:solidFill>
                <a:srgbClr val="AEABAB"/>
              </a:solidFill>
            </c:spPr>
            <c:extLst>
              <c:ext xmlns:c16="http://schemas.microsoft.com/office/drawing/2014/chart" uri="{C3380CC4-5D6E-409C-BE32-E72D297353CC}">
                <c16:uniqueId val="{00000069-83E0-4716-877A-8084D4846F88}"/>
              </c:ext>
            </c:extLst>
          </c:dPt>
          <c:dPt>
            <c:idx val="53"/>
            <c:invertIfNegative val="1"/>
            <c:bubble3D val="0"/>
            <c:spPr>
              <a:solidFill>
                <a:srgbClr val="AEABAB"/>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AEABAB"/>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AEABAB"/>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19/0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0</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37E13843-85DD-499F-B752-681F6384D798}" type="slidenum">
              <a:rPr lang="en-CH" smtClean="0"/>
              <a:t>15</a:t>
            </a:fld>
            <a:endParaRPr lang="en-CH"/>
          </a:p>
        </p:txBody>
      </p:sp>
    </p:spTree>
    <p:extLst>
      <p:ext uri="{BB962C8B-B14F-4D97-AF65-F5344CB8AC3E}">
        <p14:creationId xmlns:p14="http://schemas.microsoft.com/office/powerpoint/2010/main" val="17001270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37E13843-85DD-499F-B752-681F6384D798}" type="slidenum">
              <a:rPr lang="en-CH" smtClean="0"/>
              <a:t>20</a:t>
            </a:fld>
            <a:endParaRPr lang="en-CH"/>
          </a:p>
        </p:txBody>
      </p:sp>
    </p:spTree>
    <p:extLst>
      <p:ext uri="{BB962C8B-B14F-4D97-AF65-F5344CB8AC3E}">
        <p14:creationId xmlns:p14="http://schemas.microsoft.com/office/powerpoint/2010/main" val="17001270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2</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3</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4</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5</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6</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7</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8</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9</a:t>
            </a:fld>
            <a:endParaRPr lang="en-US"/>
          </a:p>
        </p:txBody>
      </p:sp>
    </p:spTree>
    <p:extLst>
      <p:ext uri="{BB962C8B-B14F-4D97-AF65-F5344CB8AC3E}">
        <p14:creationId xmlns:p14="http://schemas.microsoft.com/office/powerpoint/2010/main" val="2614024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9/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oleObject" Target="../embeddings/oleObject28.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oleObject" Target="../embeddings/oleObject28.bin"/><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28.emf"/><Relationship Id="rId9" Type="http://schemas.openxmlformats.org/officeDocument/2006/relationships/chart" Target="../charts/chart1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oleObject" Target="../embeddings/oleObject28.bin"/><Relationship Id="rId7" Type="http://schemas.openxmlformats.org/officeDocument/2006/relationships/chart" Target="../charts/chart23.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oleObject" Target="../embeddings/oleObject28.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0.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31.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2.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3.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4.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5.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6.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7.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8" Type="http://schemas.openxmlformats.org/officeDocument/2006/relationships/chart" Target="../charts/chart43.xml"/><Relationship Id="rId3" Type="http://schemas.openxmlformats.org/officeDocument/2006/relationships/oleObject" Target="../embeddings/oleObject28.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45.xml"/><Relationship Id="rId5" Type="http://schemas.openxmlformats.org/officeDocument/2006/relationships/chart" Target="../charts/chart4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8" Type="http://schemas.openxmlformats.org/officeDocument/2006/relationships/chart" Target="../charts/chart50.xml"/><Relationship Id="rId3" Type="http://schemas.openxmlformats.org/officeDocument/2006/relationships/oleObject" Target="../embeddings/oleObject28.bin"/><Relationship Id="rId7" Type="http://schemas.openxmlformats.org/officeDocument/2006/relationships/chart" Target="../charts/chart4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48.xml"/><Relationship Id="rId5" Type="http://schemas.openxmlformats.org/officeDocument/2006/relationships/chart" Target="../charts/chart47.xml"/><Relationship Id="rId4" Type="http://schemas.openxmlformats.org/officeDocument/2006/relationships/image" Target="../media/image28.emf"/><Relationship Id="rId9" Type="http://schemas.openxmlformats.org/officeDocument/2006/relationships/chart" Target="../charts/chart51.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54.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8" Type="http://schemas.openxmlformats.org/officeDocument/2006/relationships/chart" Target="../charts/chart63.xml"/><Relationship Id="rId3" Type="http://schemas.openxmlformats.org/officeDocument/2006/relationships/oleObject" Target="../embeddings/oleObject28.bin"/><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61.xml"/><Relationship Id="rId5" Type="http://schemas.openxmlformats.org/officeDocument/2006/relationships/chart" Target="../charts/chart60.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8" Type="http://schemas.openxmlformats.org/officeDocument/2006/relationships/chart" Target="../charts/chart67.xml"/><Relationship Id="rId3" Type="http://schemas.openxmlformats.org/officeDocument/2006/relationships/oleObject" Target="../embeddings/oleObject28.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68.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9063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0</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41868667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E1B14A4-23FE-9DAB-6653-F6663D39C3E0}"/>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10158188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CC61880-47D6-CB5C-6171-45BD1D2F62BB}"/>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7528931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extLst>
              <p:ext uri="{D42A27DB-BD31-4B8C-83A1-F6EECF244321}">
                <p14:modId xmlns:p14="http://schemas.microsoft.com/office/powerpoint/2010/main" val="1663001161"/>
              </p:ext>
            </p:extLst>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extLst>
              <p:ext uri="{D42A27DB-BD31-4B8C-83A1-F6EECF244321}">
                <p14:modId xmlns:p14="http://schemas.microsoft.com/office/powerpoint/2010/main" val="2342562657"/>
              </p:ext>
            </p:extLst>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extLst>
              <p:ext uri="{D42A27DB-BD31-4B8C-83A1-F6EECF244321}">
                <p14:modId xmlns:p14="http://schemas.microsoft.com/office/powerpoint/2010/main" val="3412502652"/>
              </p:ext>
            </p:extLst>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extLst>
              <p:ext uri="{D42A27DB-BD31-4B8C-83A1-F6EECF244321}">
                <p14:modId xmlns:p14="http://schemas.microsoft.com/office/powerpoint/2010/main" val="1020182936"/>
              </p:ext>
            </p:extLst>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extLst>
              <p:ext uri="{D42A27DB-BD31-4B8C-83A1-F6EECF244321}">
                <p14:modId xmlns:p14="http://schemas.microsoft.com/office/powerpoint/2010/main" val="1168962503"/>
              </p:ext>
            </p:extLst>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0FE41F-F4DB-491D-DF6A-A2609B67DECB}"/>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90BABC3B-0054-66FB-EC7F-6B54066BA6CF}"/>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5975398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2037742566"/>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2773981971"/>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4BFD87F-56C5-354A-8E8F-386FE7A9E82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06A9BB13-BB5F-3DBB-C3D9-0D39A57AD98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7688423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endParaRPr lang="en-US" noProof="0" dirty="0">
              <a:solidFill>
                <a:srgbClr val="FF0000"/>
              </a:solidFill>
            </a:endParaRP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9" name="TextBox 8">
            <a:extLst>
              <a:ext uri="{FF2B5EF4-FFF2-40B4-BE49-F238E27FC236}">
                <a16:creationId xmlns:a16="http://schemas.microsoft.com/office/drawing/2014/main" id="{25625760-26AA-518B-1E4F-7E7D950DCC4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7921471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CC61880-47D6-CB5C-6171-45BD1D2F62BB}"/>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42435753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2037742566"/>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2773981971"/>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4BFD87F-56C5-354A-8E8F-386FE7A9E82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06A9BB13-BB5F-3DBB-C3D9-0D39A57AD98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2009862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E1B14A4-23FE-9DAB-6653-F6663D39C3E0}"/>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9885614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E1B14A4-23FE-9DAB-6653-F6663D39C3E0}"/>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4568301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2</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35036420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endParaRPr lang="en-US" noProof="0" dirty="0">
              <a:solidFill>
                <a:srgbClr val="FF0000"/>
              </a:solidFill>
            </a:endParaRP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9" name="TextBox 8">
            <a:extLst>
              <a:ext uri="{FF2B5EF4-FFF2-40B4-BE49-F238E27FC236}">
                <a16:creationId xmlns:a16="http://schemas.microsoft.com/office/drawing/2014/main" id="{25625760-26AA-518B-1E4F-7E7D950DCC4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14153189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6169467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1338684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1293672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7946853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827484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0051785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4557837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6603822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235043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3</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18327834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6126957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817426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804620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extLst>
              <p:ext uri="{D42A27DB-BD31-4B8C-83A1-F6EECF244321}">
                <p14:modId xmlns:p14="http://schemas.microsoft.com/office/powerpoint/2010/main" val="3977227795"/>
              </p:ext>
            </p:extLst>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extLst>
              <p:ext uri="{D42A27DB-BD31-4B8C-83A1-F6EECF244321}">
                <p14:modId xmlns:p14="http://schemas.microsoft.com/office/powerpoint/2010/main" val="3185406269"/>
              </p:ext>
            </p:extLst>
          </p:nvPr>
        </p:nvGraphicFramePr>
        <p:xfrm>
          <a:off x="1902137" y="1650206"/>
          <a:ext cx="1044000" cy="309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extLst>
              <p:ext uri="{D42A27DB-BD31-4B8C-83A1-F6EECF244321}">
                <p14:modId xmlns:p14="http://schemas.microsoft.com/office/powerpoint/2010/main" val="3994772514"/>
              </p:ext>
            </p:extLst>
          </p:nvPr>
        </p:nvGraphicFramePr>
        <p:xfrm>
          <a:off x="3252376" y="1650206"/>
          <a:ext cx="1044000" cy="3096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extLst>
              <p:ext uri="{D42A27DB-BD31-4B8C-83A1-F6EECF244321}">
                <p14:modId xmlns:p14="http://schemas.microsoft.com/office/powerpoint/2010/main" val="1569479149"/>
              </p:ext>
            </p:extLst>
          </p:nvPr>
        </p:nvGraphicFramePr>
        <p:xfrm>
          <a:off x="4602615" y="1650206"/>
          <a:ext cx="1044000" cy="3096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extLst>
              <p:ext uri="{D42A27DB-BD31-4B8C-83A1-F6EECF244321}">
                <p14:modId xmlns:p14="http://schemas.microsoft.com/office/powerpoint/2010/main" val="2032456826"/>
              </p:ext>
            </p:extLst>
          </p:nvPr>
        </p:nvGraphicFramePr>
        <p:xfrm>
          <a:off x="5952854" y="1650206"/>
          <a:ext cx="1044000" cy="3096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extLst>
              <p:ext uri="{D42A27DB-BD31-4B8C-83A1-F6EECF244321}">
                <p14:modId xmlns:p14="http://schemas.microsoft.com/office/powerpoint/2010/main" val="1793043530"/>
              </p:ext>
            </p:extLst>
          </p:nvPr>
        </p:nvGraphicFramePr>
        <p:xfrm>
          <a:off x="7303093" y="1650206"/>
          <a:ext cx="1044000" cy="3096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239508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4238443762"/>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751555789"/>
              </p:ext>
            </p:extLst>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514636181"/>
              </p:ext>
            </p:extLst>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847847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14061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026867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4238443762"/>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751555789"/>
              </p:ext>
            </p:extLst>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514636181"/>
              </p:ext>
            </p:extLst>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1783069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203120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3944786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4</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7341462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734150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5</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9970842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6</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22741503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7</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17580622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8</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19462279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9</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2590511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D21786C5-D6DC-4DB9-87D8-B24F55D318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5601</Words>
  <Application>Microsoft Office PowerPoint</Application>
  <PresentationFormat>On-screen Show (16:9)</PresentationFormat>
  <Paragraphs>2265</Paragraphs>
  <Slides>40</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9"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6</cp:revision>
  <dcterms:created xsi:type="dcterms:W3CDTF">2024-07-08T12:20:01Z</dcterms:created>
  <dcterms:modified xsi:type="dcterms:W3CDTF">2025-08-19T11:1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